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36.xml" ContentType="application/vnd.openxmlformats-officedocument.presentationml.slide+xml"/>
  <Override PartName="/ppt/tags/tag451.xml" ContentType="application/vnd.openxmlformats-officedocument.presentationml.tags+xml"/>
  <Override PartName="/ppt/tags/tag450.xml" ContentType="application/vnd.openxmlformats-officedocument.presentationml.tags+xml"/>
  <Override PartName="/ppt/notesSlides/notesSlide13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52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08" r:id="rId13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36.xml" Id="rId139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6.xml.rels>&#65279;<?xml version="1.0" encoding="utf-8"?><Relationships xmlns="http://schemas.openxmlformats.org/package/2006/relationships"><Relationship Type="http://schemas.openxmlformats.org/officeDocument/2006/relationships/slide" Target="/ppt/slides/slide136.xml" Id="rId2" /><Relationship Type="http://schemas.openxmlformats.org/officeDocument/2006/relationships/notesMaster" Target="/ppt/notesMasters/notesMaster1.xml" Id="rId1" /></Relationships>
</file>

<file path=ppt/notesSlides/notesSlide1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43620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6.xml.rels>&#65279;<?xml version="1.0" encoding="utf-8"?><Relationships xmlns="http://schemas.openxmlformats.org/package/2006/relationships"><Relationship Type="http://schemas.openxmlformats.org/officeDocument/2006/relationships/image" Target="/ppt/media/image4.emf" Id="rId8" /><Relationship Type="http://schemas.openxmlformats.org/officeDocument/2006/relationships/tags" Target="/ppt/tags/tag451.xml" Id="rId3" /><Relationship Type="http://schemas.openxmlformats.org/officeDocument/2006/relationships/oleObject" Target="/ppt/embeddings/oleObject140.bin" Id="rId7" /><Relationship Type="http://schemas.openxmlformats.org/officeDocument/2006/relationships/tags" Target="/ppt/tags/tag450.xml" Id="rId2" /><Relationship Type="http://schemas.openxmlformats.org/officeDocument/2006/relationships/vmlDrawing" Target="/ppt/drawings/vmlDrawing140.vml" Id="rId1" /><Relationship Type="http://schemas.openxmlformats.org/officeDocument/2006/relationships/notesSlide" Target="/ppt/notesSlides/notesSlide136.xml" Id="rId6" /><Relationship Type="http://schemas.openxmlformats.org/officeDocument/2006/relationships/slideLayout" Target="/ppt/slideLayouts/slideLayout5.xml" Id="rId5" /><Relationship Type="http://schemas.openxmlformats.org/officeDocument/2006/relationships/tags" Target="/ppt/tags/tag452.xml" Id="rId4" /></Relationships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739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9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rocess circle</a:t>
            </a:r>
          </a:p>
        </p:txBody>
      </p:sp>
      <p:cxnSp>
        <p:nvCxnSpPr>
          <p:cNvPr id="2" name="Gerade Verbindung 22">
            <a:extLst>
              <a:ext uri="{FF2B5EF4-FFF2-40B4-BE49-F238E27FC236}">
                <a16:creationId xmlns:a16="http://schemas.microsoft.com/office/drawing/2014/main" id="{1CA82570-6CC0-AE13-972B-EC3B2791EB48}"/>
              </a:ext>
            </a:extLst>
          </p:cNvPr>
          <p:cNvCxnSpPr>
            <a:cxnSpLocks/>
          </p:cNvCxnSpPr>
          <p:nvPr/>
        </p:nvCxnSpPr>
        <p:spPr bwMode="gray">
          <a:xfrm>
            <a:off x="6374351" y="1939084"/>
            <a:ext cx="543258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AE054163-B09D-24B6-0AF9-CC16AD083DA4}"/>
              </a:ext>
            </a:extLst>
          </p:cNvPr>
          <p:cNvSpPr txBox="1">
            <a:spLocks/>
          </p:cNvSpPr>
          <p:nvPr/>
        </p:nvSpPr>
        <p:spPr bwMode="gray">
          <a:xfrm>
            <a:off x="8343964" y="1589382"/>
            <a:ext cx="346703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algn="r"/>
            <a:r>
              <a:rPr lang="en-US" sz="1800" cap="none"/>
              <a:t>Sample text</a:t>
            </a:r>
          </a:p>
        </p:txBody>
      </p:sp>
      <p:sp>
        <p:nvSpPr>
          <p:cNvPr id="4" name="Rechteck 13">
            <a:extLst>
              <a:ext uri="{FF2B5EF4-FFF2-40B4-BE49-F238E27FC236}">
                <a16:creationId xmlns:a16="http://schemas.microsoft.com/office/drawing/2014/main" id="{BB95134B-C2FD-73B0-DDF9-4D11543AE54E}"/>
              </a:ext>
            </a:extLst>
          </p:cNvPr>
          <p:cNvSpPr>
            <a:spLocks/>
          </p:cNvSpPr>
          <p:nvPr/>
        </p:nvSpPr>
        <p:spPr>
          <a:xfrm flipH="1">
            <a:off x="8343964" y="1939084"/>
            <a:ext cx="346703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6" name="Gerade Verbindung 22">
            <a:extLst>
              <a:ext uri="{FF2B5EF4-FFF2-40B4-BE49-F238E27FC236}">
                <a16:creationId xmlns:a16="http://schemas.microsoft.com/office/drawing/2014/main" id="{90FED8CF-282A-FF2C-85D6-C6C3C3521E37}"/>
              </a:ext>
            </a:extLst>
          </p:cNvPr>
          <p:cNvCxnSpPr>
            <a:cxnSpLocks/>
          </p:cNvCxnSpPr>
          <p:nvPr/>
        </p:nvCxnSpPr>
        <p:spPr bwMode="gray">
          <a:xfrm>
            <a:off x="425450" y="1939084"/>
            <a:ext cx="4924949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3F247971-BBA7-1F08-EEC0-96124A3B9642}"/>
              </a:ext>
            </a:extLst>
          </p:cNvPr>
          <p:cNvSpPr txBox="1">
            <a:spLocks/>
          </p:cNvSpPr>
          <p:nvPr/>
        </p:nvSpPr>
        <p:spPr bwMode="gray">
          <a:xfrm>
            <a:off x="424163" y="1589382"/>
            <a:ext cx="356507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9" name="Rechteck 12">
            <a:extLst>
              <a:ext uri="{FF2B5EF4-FFF2-40B4-BE49-F238E27FC236}">
                <a16:creationId xmlns:a16="http://schemas.microsoft.com/office/drawing/2014/main" id="{B0320783-25A5-52CF-846C-5F2353D93404}"/>
              </a:ext>
            </a:extLst>
          </p:cNvPr>
          <p:cNvSpPr>
            <a:spLocks/>
          </p:cNvSpPr>
          <p:nvPr/>
        </p:nvSpPr>
        <p:spPr>
          <a:xfrm flipH="1">
            <a:off x="424163" y="1939084"/>
            <a:ext cx="356507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11" name="Gerade Verbindung 22">
            <a:extLst>
              <a:ext uri="{FF2B5EF4-FFF2-40B4-BE49-F238E27FC236}">
                <a16:creationId xmlns:a16="http://schemas.microsoft.com/office/drawing/2014/main" id="{07B96217-0077-9D50-2912-7FAA003701B6}"/>
              </a:ext>
            </a:extLst>
          </p:cNvPr>
          <p:cNvCxnSpPr>
            <a:cxnSpLocks/>
          </p:cNvCxnSpPr>
          <p:nvPr/>
        </p:nvCxnSpPr>
        <p:spPr bwMode="gray">
          <a:xfrm>
            <a:off x="6374351" y="3478277"/>
            <a:ext cx="543258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9E71A259-CB50-88AE-D18E-0E251C142336}"/>
              </a:ext>
            </a:extLst>
          </p:cNvPr>
          <p:cNvSpPr txBox="1">
            <a:spLocks/>
          </p:cNvSpPr>
          <p:nvPr/>
        </p:nvSpPr>
        <p:spPr bwMode="gray">
          <a:xfrm>
            <a:off x="8343964" y="3128575"/>
            <a:ext cx="346703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algn="r"/>
            <a:r>
              <a:rPr lang="en-US" sz="1800" cap="none"/>
              <a:t>Sample text</a:t>
            </a:r>
          </a:p>
        </p:txBody>
      </p:sp>
      <p:sp>
        <p:nvSpPr>
          <p:cNvPr id="13" name="Rechteck 52">
            <a:extLst>
              <a:ext uri="{FF2B5EF4-FFF2-40B4-BE49-F238E27FC236}">
                <a16:creationId xmlns:a16="http://schemas.microsoft.com/office/drawing/2014/main" id="{E28561CB-10E9-65A7-F4D0-7384A3B3EE11}"/>
              </a:ext>
            </a:extLst>
          </p:cNvPr>
          <p:cNvSpPr>
            <a:spLocks/>
          </p:cNvSpPr>
          <p:nvPr/>
        </p:nvSpPr>
        <p:spPr>
          <a:xfrm flipH="1">
            <a:off x="8343964" y="3478277"/>
            <a:ext cx="346703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14" name="Gerade Verbindung 22">
            <a:extLst>
              <a:ext uri="{FF2B5EF4-FFF2-40B4-BE49-F238E27FC236}">
                <a16:creationId xmlns:a16="http://schemas.microsoft.com/office/drawing/2014/main" id="{F750D6D7-29DB-1CBE-32AE-D8B493AF01AF}"/>
              </a:ext>
            </a:extLst>
          </p:cNvPr>
          <p:cNvCxnSpPr>
            <a:cxnSpLocks/>
          </p:cNvCxnSpPr>
          <p:nvPr/>
        </p:nvCxnSpPr>
        <p:spPr bwMode="gray">
          <a:xfrm>
            <a:off x="425450" y="3478277"/>
            <a:ext cx="4924949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2431581F-48DC-1BFB-ED18-71B4225940BC}"/>
              </a:ext>
            </a:extLst>
          </p:cNvPr>
          <p:cNvSpPr txBox="1">
            <a:spLocks/>
          </p:cNvSpPr>
          <p:nvPr/>
        </p:nvSpPr>
        <p:spPr bwMode="gray">
          <a:xfrm>
            <a:off x="424163" y="3128575"/>
            <a:ext cx="356507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16" name="Rechteck 55">
            <a:extLst>
              <a:ext uri="{FF2B5EF4-FFF2-40B4-BE49-F238E27FC236}">
                <a16:creationId xmlns:a16="http://schemas.microsoft.com/office/drawing/2014/main" id="{B1CF4C86-D4CB-62AE-7811-B443B76BCDDE}"/>
              </a:ext>
            </a:extLst>
          </p:cNvPr>
          <p:cNvSpPr>
            <a:spLocks/>
          </p:cNvSpPr>
          <p:nvPr/>
        </p:nvSpPr>
        <p:spPr>
          <a:xfrm flipH="1">
            <a:off x="424163" y="3478277"/>
            <a:ext cx="356507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17" name="Gerade Verbindung 22">
            <a:extLst>
              <a:ext uri="{FF2B5EF4-FFF2-40B4-BE49-F238E27FC236}">
                <a16:creationId xmlns:a16="http://schemas.microsoft.com/office/drawing/2014/main" id="{1DC2A0B0-A281-D8CA-5AC6-3ABF4CE933E9}"/>
              </a:ext>
            </a:extLst>
          </p:cNvPr>
          <p:cNvCxnSpPr>
            <a:cxnSpLocks/>
          </p:cNvCxnSpPr>
          <p:nvPr/>
        </p:nvCxnSpPr>
        <p:spPr bwMode="gray">
          <a:xfrm>
            <a:off x="6374351" y="5017470"/>
            <a:ext cx="543258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02FCD481-30EA-A033-BC64-30AC9FF40665}"/>
              </a:ext>
            </a:extLst>
          </p:cNvPr>
          <p:cNvSpPr txBox="1">
            <a:spLocks/>
          </p:cNvSpPr>
          <p:nvPr/>
        </p:nvSpPr>
        <p:spPr bwMode="gray">
          <a:xfrm>
            <a:off x="8343964" y="4667768"/>
            <a:ext cx="346703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algn="r"/>
            <a:r>
              <a:rPr lang="en-US" sz="1800" cap="none"/>
              <a:t>Sample text</a:t>
            </a:r>
          </a:p>
        </p:txBody>
      </p:sp>
      <p:sp>
        <p:nvSpPr>
          <p:cNvPr id="19" name="Rechteck 59">
            <a:extLst>
              <a:ext uri="{FF2B5EF4-FFF2-40B4-BE49-F238E27FC236}">
                <a16:creationId xmlns:a16="http://schemas.microsoft.com/office/drawing/2014/main" id="{8DD94B86-32F0-C42E-E66D-2E946892594C}"/>
              </a:ext>
            </a:extLst>
          </p:cNvPr>
          <p:cNvSpPr>
            <a:spLocks/>
          </p:cNvSpPr>
          <p:nvPr/>
        </p:nvSpPr>
        <p:spPr>
          <a:xfrm flipH="1">
            <a:off x="8343964" y="5017470"/>
            <a:ext cx="346703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20" name="Gerade Verbindung 22">
            <a:extLst>
              <a:ext uri="{FF2B5EF4-FFF2-40B4-BE49-F238E27FC236}">
                <a16:creationId xmlns:a16="http://schemas.microsoft.com/office/drawing/2014/main" id="{5085E29F-FB4B-0FE8-CB51-AFD6518A2779}"/>
              </a:ext>
            </a:extLst>
          </p:cNvPr>
          <p:cNvCxnSpPr>
            <a:cxnSpLocks/>
          </p:cNvCxnSpPr>
          <p:nvPr/>
        </p:nvCxnSpPr>
        <p:spPr bwMode="gray">
          <a:xfrm>
            <a:off x="425450" y="5017470"/>
            <a:ext cx="4924949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3">
            <a:extLst>
              <a:ext uri="{FF2B5EF4-FFF2-40B4-BE49-F238E27FC236}">
                <a16:creationId xmlns:a16="http://schemas.microsoft.com/office/drawing/2014/main" id="{FD52877C-FFFE-5EB5-D51D-87027EA25F06}"/>
              </a:ext>
            </a:extLst>
          </p:cNvPr>
          <p:cNvSpPr txBox="1">
            <a:spLocks/>
          </p:cNvSpPr>
          <p:nvPr/>
        </p:nvSpPr>
        <p:spPr bwMode="gray">
          <a:xfrm>
            <a:off x="424163" y="4667768"/>
            <a:ext cx="356507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22" name="Rechteck 62">
            <a:extLst>
              <a:ext uri="{FF2B5EF4-FFF2-40B4-BE49-F238E27FC236}">
                <a16:creationId xmlns:a16="http://schemas.microsoft.com/office/drawing/2014/main" id="{3B777A28-A0F0-C7B3-5A7E-9C010C0A39A8}"/>
              </a:ext>
            </a:extLst>
          </p:cNvPr>
          <p:cNvSpPr>
            <a:spLocks/>
          </p:cNvSpPr>
          <p:nvPr/>
        </p:nvSpPr>
        <p:spPr>
          <a:xfrm flipH="1">
            <a:off x="424163" y="5017470"/>
            <a:ext cx="356507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3" name="Oval 52">
            <a:extLst>
              <a:ext uri="{FF2B5EF4-FFF2-40B4-BE49-F238E27FC236}">
                <a16:creationId xmlns:a16="http://schemas.microsoft.com/office/drawing/2014/main" id="{2DC9A411-5DC8-A564-7C72-625F959FCD58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195762" y="1727313"/>
            <a:ext cx="3805238" cy="3803648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grpSp>
        <p:nvGrpSpPr>
          <p:cNvPr id="24" name="Gruppieren 39">
            <a:extLst>
              <a:ext uri="{FF2B5EF4-FFF2-40B4-BE49-F238E27FC236}">
                <a16:creationId xmlns:a16="http://schemas.microsoft.com/office/drawing/2014/main" id="{F34BE0A4-B0A1-EC7E-490B-7A49337C0F06}"/>
              </a:ext>
            </a:extLst>
          </p:cNvPr>
          <p:cNvGrpSpPr>
            <a:grpSpLocks/>
          </p:cNvGrpSpPr>
          <p:nvPr/>
        </p:nvGrpSpPr>
        <p:grpSpPr>
          <a:xfrm>
            <a:off x="4273362" y="1811758"/>
            <a:ext cx="3650038" cy="3650038"/>
            <a:chOff x="3905250" y="1238250"/>
            <a:chExt cx="4378546" cy="4378832"/>
          </a:xfrm>
          <a:solidFill>
            <a:schemeClr val="bg2"/>
          </a:solidFill>
        </p:grpSpPr>
        <p:sp>
          <p:nvSpPr>
            <p:cNvPr id="25" name="Freihandform: Form 40">
              <a:extLst>
                <a:ext uri="{FF2B5EF4-FFF2-40B4-BE49-F238E27FC236}">
                  <a16:creationId xmlns:a16="http://schemas.microsoft.com/office/drawing/2014/main" id="{69511C53-086D-14FA-EBBA-97DEEF9B6733}"/>
                </a:ext>
              </a:extLst>
            </p:cNvPr>
            <p:cNvSpPr>
              <a:spLocks/>
            </p:cNvSpPr>
            <p:nvPr/>
          </p:nvSpPr>
          <p:spPr>
            <a:xfrm>
              <a:off x="7284053" y="2303240"/>
              <a:ext cx="999743" cy="2106644"/>
            </a:xfrm>
            <a:custGeom>
              <a:avLst/>
              <a:gdLst>
                <a:gd name="connsiteX0" fmla="*/ 690181 w 999743"/>
                <a:gd name="connsiteY0" fmla="*/ 95 h 2106644"/>
                <a:gd name="connsiteX1" fmla="*/ 495586 w 999743"/>
                <a:gd name="connsiteY1" fmla="*/ 473964 h 2106644"/>
                <a:gd name="connsiteX2" fmla="*/ 0 w 999743"/>
                <a:gd name="connsiteY2" fmla="*/ 407194 h 2106644"/>
                <a:gd name="connsiteX3" fmla="*/ 199739 w 999743"/>
                <a:gd name="connsiteY3" fmla="*/ 1124331 h 2106644"/>
                <a:gd name="connsiteX4" fmla="*/ 106204 w 999743"/>
                <a:gd name="connsiteY4" fmla="*/ 1625346 h 2106644"/>
                <a:gd name="connsiteX5" fmla="*/ 303847 w 999743"/>
                <a:gd name="connsiteY5" fmla="*/ 2106645 h 2106644"/>
                <a:gd name="connsiteX6" fmla="*/ 800481 w 999743"/>
                <a:gd name="connsiteY6" fmla="*/ 2039684 h 2106644"/>
                <a:gd name="connsiteX7" fmla="*/ 999744 w 999743"/>
                <a:gd name="connsiteY7" fmla="*/ 1124236 h 2106644"/>
                <a:gd name="connsiteX8" fmla="*/ 690086 w 999743"/>
                <a:gd name="connsiteY8" fmla="*/ 0 h 2106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9743" h="2106644">
                  <a:moveTo>
                    <a:pt x="690181" y="95"/>
                  </a:moveTo>
                  <a:lnTo>
                    <a:pt x="495586" y="473964"/>
                  </a:lnTo>
                  <a:lnTo>
                    <a:pt x="0" y="407194"/>
                  </a:lnTo>
                  <a:cubicBezTo>
                    <a:pt x="130969" y="623507"/>
                    <a:pt x="199739" y="869728"/>
                    <a:pt x="199739" y="1124331"/>
                  </a:cubicBezTo>
                  <a:cubicBezTo>
                    <a:pt x="199739" y="1297210"/>
                    <a:pt x="168307" y="1465707"/>
                    <a:pt x="106204" y="1625346"/>
                  </a:cubicBezTo>
                  <a:lnTo>
                    <a:pt x="303847" y="2106645"/>
                  </a:lnTo>
                  <a:lnTo>
                    <a:pt x="800481" y="2039684"/>
                  </a:lnTo>
                  <a:cubicBezTo>
                    <a:pt x="932688" y="1752790"/>
                    <a:pt x="999744" y="1444943"/>
                    <a:pt x="999744" y="1124236"/>
                  </a:cubicBezTo>
                  <a:cubicBezTo>
                    <a:pt x="999744" y="724853"/>
                    <a:pt x="892873" y="337757"/>
                    <a:pt x="69008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41">
              <a:extLst>
                <a:ext uri="{FF2B5EF4-FFF2-40B4-BE49-F238E27FC236}">
                  <a16:creationId xmlns:a16="http://schemas.microsoft.com/office/drawing/2014/main" id="{093B386B-BC80-DE81-AE20-2A7C4510B61F}"/>
                </a:ext>
              </a:extLst>
            </p:cNvPr>
            <p:cNvSpPr>
              <a:spLocks/>
            </p:cNvSpPr>
            <p:nvPr/>
          </p:nvSpPr>
          <p:spPr>
            <a:xfrm>
              <a:off x="4176617" y="1246917"/>
              <a:ext cx="2032158" cy="1501044"/>
            </a:xfrm>
            <a:custGeom>
              <a:avLst/>
              <a:gdLst>
                <a:gd name="connsiteX0" fmla="*/ 522351 w 2032158"/>
                <a:gd name="connsiteY0" fmla="*/ 1052417 h 1501044"/>
                <a:gd name="connsiteX1" fmla="*/ 706565 w 2032158"/>
                <a:gd name="connsiteY1" fmla="*/ 1501045 h 1501044"/>
                <a:gd name="connsiteX2" fmla="*/ 1720596 w 2032158"/>
                <a:gd name="connsiteY2" fmla="*/ 805339 h 1501044"/>
                <a:gd name="connsiteX3" fmla="*/ 2032159 w 2032158"/>
                <a:gd name="connsiteY3" fmla="*/ 401955 h 1501044"/>
                <a:gd name="connsiteX4" fmla="*/ 1721644 w 2032158"/>
                <a:gd name="connsiteY4" fmla="*/ 0 h 1501044"/>
                <a:gd name="connsiteX5" fmla="*/ 369856 w 2032158"/>
                <a:gd name="connsiteY5" fmla="*/ 632555 h 1501044"/>
                <a:gd name="connsiteX6" fmla="*/ 0 w 2032158"/>
                <a:gd name="connsiteY6" fmla="*/ 1122902 h 1501044"/>
                <a:gd name="connsiteX7" fmla="*/ 522351 w 2032158"/>
                <a:gd name="connsiteY7" fmla="*/ 1052513 h 150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2158" h="1501044">
                  <a:moveTo>
                    <a:pt x="522351" y="1052417"/>
                  </a:moveTo>
                  <a:lnTo>
                    <a:pt x="706565" y="1501045"/>
                  </a:lnTo>
                  <a:cubicBezTo>
                    <a:pt x="918401" y="1123664"/>
                    <a:pt x="1291114" y="866680"/>
                    <a:pt x="1720596" y="805339"/>
                  </a:cubicBezTo>
                  <a:lnTo>
                    <a:pt x="2032159" y="401955"/>
                  </a:lnTo>
                  <a:lnTo>
                    <a:pt x="1721644" y="0"/>
                  </a:lnTo>
                  <a:cubicBezTo>
                    <a:pt x="1212723" y="45053"/>
                    <a:pt x="733330" y="269177"/>
                    <a:pt x="369856" y="632555"/>
                  </a:cubicBezTo>
                  <a:cubicBezTo>
                    <a:pt x="223076" y="779336"/>
                    <a:pt x="98869" y="944023"/>
                    <a:pt x="0" y="1122902"/>
                  </a:cubicBezTo>
                  <a:lnTo>
                    <a:pt x="522351" y="105251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42">
              <a:extLst>
                <a:ext uri="{FF2B5EF4-FFF2-40B4-BE49-F238E27FC236}">
                  <a16:creationId xmlns:a16="http://schemas.microsoft.com/office/drawing/2014/main" id="{DAA471EE-A552-0EAA-07A4-E344E7344456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1825561" cy="1393031"/>
            </a:xfrm>
            <a:custGeom>
              <a:avLst/>
              <a:gdLst>
                <a:gd name="connsiteX0" fmla="*/ 16192 w 1825561"/>
                <a:gd name="connsiteY0" fmla="*/ 800195 h 1393031"/>
                <a:gd name="connsiteX1" fmla="*/ 34385 w 1825561"/>
                <a:gd name="connsiteY1" fmla="*/ 800100 h 1393031"/>
                <a:gd name="connsiteX2" fmla="*/ 1120235 w 1825561"/>
                <a:gd name="connsiteY2" fmla="*/ 1323594 h 1393031"/>
                <a:gd name="connsiteX3" fmla="*/ 1635157 w 1825561"/>
                <a:gd name="connsiteY3" fmla="*/ 1393031 h 1393031"/>
                <a:gd name="connsiteX4" fmla="*/ 1825561 w 1825561"/>
                <a:gd name="connsiteY4" fmla="*/ 929354 h 1393031"/>
                <a:gd name="connsiteX5" fmla="*/ 1582484 w 1825561"/>
                <a:gd name="connsiteY5" fmla="*/ 641223 h 1393031"/>
                <a:gd name="connsiteX6" fmla="*/ 34385 w 1825561"/>
                <a:gd name="connsiteY6" fmla="*/ 0 h 1393031"/>
                <a:gd name="connsiteX7" fmla="*/ 0 w 1825561"/>
                <a:gd name="connsiteY7" fmla="*/ 286 h 1393031"/>
                <a:gd name="connsiteX8" fmla="*/ 317087 w 1825561"/>
                <a:gd name="connsiteY8" fmla="*/ 410718 h 1393031"/>
                <a:gd name="connsiteX9" fmla="*/ 16192 w 1825561"/>
                <a:gd name="connsiteY9" fmla="*/ 800195 h 139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5561" h="1393031">
                  <a:moveTo>
                    <a:pt x="16192" y="800195"/>
                  </a:moveTo>
                  <a:cubicBezTo>
                    <a:pt x="22288" y="800195"/>
                    <a:pt x="28384" y="800100"/>
                    <a:pt x="34385" y="800100"/>
                  </a:cubicBezTo>
                  <a:cubicBezTo>
                    <a:pt x="459581" y="800100"/>
                    <a:pt x="854488" y="990695"/>
                    <a:pt x="1120235" y="1323594"/>
                  </a:cubicBezTo>
                  <a:lnTo>
                    <a:pt x="1635157" y="1393031"/>
                  </a:lnTo>
                  <a:lnTo>
                    <a:pt x="1825561" y="929354"/>
                  </a:lnTo>
                  <a:cubicBezTo>
                    <a:pt x="1753457" y="827342"/>
                    <a:pt x="1671733" y="730472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7087" y="410718"/>
                  </a:lnTo>
                  <a:lnTo>
                    <a:pt x="16192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ihandform: Form 43">
              <a:extLst>
                <a:ext uri="{FF2B5EF4-FFF2-40B4-BE49-F238E27FC236}">
                  <a16:creationId xmlns:a16="http://schemas.microsoft.com/office/drawing/2014/main" id="{00253CC5-A10E-787D-3167-69B7220B47BA}"/>
                </a:ext>
              </a:extLst>
            </p:cNvPr>
            <p:cNvSpPr>
              <a:spLocks/>
            </p:cNvSpPr>
            <p:nvPr/>
          </p:nvSpPr>
          <p:spPr>
            <a:xfrm>
              <a:off x="5993891" y="4093273"/>
              <a:ext cx="2017490" cy="1513903"/>
            </a:xfrm>
            <a:custGeom>
              <a:avLst/>
              <a:gdLst>
                <a:gd name="connsiteX0" fmla="*/ 1509808 w 2017490"/>
                <a:gd name="connsiteY0" fmla="*/ 462534 h 1513903"/>
                <a:gd name="connsiteX1" fmla="*/ 1319879 w 2017490"/>
                <a:gd name="connsiteY1" fmla="*/ 0 h 1513903"/>
                <a:gd name="connsiteX2" fmla="*/ 313277 w 2017490"/>
                <a:gd name="connsiteY2" fmla="*/ 707327 h 1513903"/>
                <a:gd name="connsiteX3" fmla="*/ 0 w 2017490"/>
                <a:gd name="connsiteY3" fmla="*/ 1112996 h 1513903"/>
                <a:gd name="connsiteX4" fmla="*/ 309658 w 2017490"/>
                <a:gd name="connsiteY4" fmla="*/ 1513904 h 1513903"/>
                <a:gd name="connsiteX5" fmla="*/ 1648682 w 2017490"/>
                <a:gd name="connsiteY5" fmla="*/ 882396 h 1513903"/>
                <a:gd name="connsiteX6" fmla="*/ 2017490 w 2017490"/>
                <a:gd name="connsiteY6" fmla="*/ 394049 h 1513903"/>
                <a:gd name="connsiteX7" fmla="*/ 1509713 w 2017490"/>
                <a:gd name="connsiteY7" fmla="*/ 462439 h 1513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7490" h="1513903">
                  <a:moveTo>
                    <a:pt x="1509808" y="462534"/>
                  </a:moveTo>
                  <a:lnTo>
                    <a:pt x="1319879" y="0"/>
                  </a:lnTo>
                  <a:cubicBezTo>
                    <a:pt x="1112234" y="380048"/>
                    <a:pt x="742283" y="641318"/>
                    <a:pt x="313277" y="707327"/>
                  </a:cubicBezTo>
                  <a:lnTo>
                    <a:pt x="0" y="1112996"/>
                  </a:lnTo>
                  <a:lnTo>
                    <a:pt x="309658" y="1513904"/>
                  </a:lnTo>
                  <a:cubicBezTo>
                    <a:pt x="813626" y="1466374"/>
                    <a:pt x="1288447" y="1242632"/>
                    <a:pt x="1648682" y="882396"/>
                  </a:cubicBezTo>
                  <a:cubicBezTo>
                    <a:pt x="1794796" y="736283"/>
                    <a:pt x="1918621" y="572262"/>
                    <a:pt x="2017490" y="394049"/>
                  </a:cubicBezTo>
                  <a:lnTo>
                    <a:pt x="1509713" y="462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ihandform: Form 44">
              <a:extLst>
                <a:ext uri="{FF2B5EF4-FFF2-40B4-BE49-F238E27FC236}">
                  <a16:creationId xmlns:a16="http://schemas.microsoft.com/office/drawing/2014/main" id="{490751D3-82C3-519D-D80A-32709E8708CD}"/>
                </a:ext>
              </a:extLst>
            </p:cNvPr>
            <p:cNvSpPr>
              <a:spLocks/>
            </p:cNvSpPr>
            <p:nvPr/>
          </p:nvSpPr>
          <p:spPr>
            <a:xfrm>
              <a:off x="4312062" y="4223956"/>
              <a:ext cx="1830133" cy="1393126"/>
            </a:xfrm>
            <a:custGeom>
              <a:avLst/>
              <a:gdLst>
                <a:gd name="connsiteX0" fmla="*/ 1513427 w 1830133"/>
                <a:gd name="connsiteY0" fmla="*/ 982313 h 1393126"/>
                <a:gd name="connsiteX1" fmla="*/ 1814322 w 1830133"/>
                <a:gd name="connsiteY1" fmla="*/ 592550 h 1393126"/>
                <a:gd name="connsiteX2" fmla="*/ 1782509 w 1830133"/>
                <a:gd name="connsiteY2" fmla="*/ 592931 h 1393126"/>
                <a:gd name="connsiteX3" fmla="*/ 695135 w 1830133"/>
                <a:gd name="connsiteY3" fmla="*/ 67342 h 1393126"/>
                <a:gd name="connsiteX4" fmla="*/ 195263 w 1830133"/>
                <a:gd name="connsiteY4" fmla="*/ 0 h 1393126"/>
                <a:gd name="connsiteX5" fmla="*/ 0 w 1830133"/>
                <a:gd name="connsiteY5" fmla="*/ 475583 h 1393126"/>
                <a:gd name="connsiteX6" fmla="*/ 234410 w 1830133"/>
                <a:gd name="connsiteY6" fmla="*/ 751809 h 1393126"/>
                <a:gd name="connsiteX7" fmla="*/ 1782509 w 1830133"/>
                <a:gd name="connsiteY7" fmla="*/ 1393127 h 1393126"/>
                <a:gd name="connsiteX8" fmla="*/ 1830134 w 1830133"/>
                <a:gd name="connsiteY8" fmla="*/ 1392651 h 1393126"/>
                <a:gd name="connsiteX9" fmla="*/ 1513332 w 1830133"/>
                <a:gd name="connsiteY9" fmla="*/ 982504 h 1393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0133" h="1393126">
                  <a:moveTo>
                    <a:pt x="1513427" y="982313"/>
                  </a:moveTo>
                  <a:lnTo>
                    <a:pt x="1814322" y="592550"/>
                  </a:lnTo>
                  <a:cubicBezTo>
                    <a:pt x="1803654" y="592836"/>
                    <a:pt x="1793081" y="592931"/>
                    <a:pt x="1782509" y="592931"/>
                  </a:cubicBezTo>
                  <a:cubicBezTo>
                    <a:pt x="1356360" y="592931"/>
                    <a:pt x="960882" y="401574"/>
                    <a:pt x="695135" y="67342"/>
                  </a:cubicBezTo>
                  <a:lnTo>
                    <a:pt x="195263" y="0"/>
                  </a:lnTo>
                  <a:lnTo>
                    <a:pt x="0" y="475583"/>
                  </a:lnTo>
                  <a:cubicBezTo>
                    <a:pt x="69723" y="573024"/>
                    <a:pt x="148495" y="665893"/>
                    <a:pt x="234410" y="751809"/>
                  </a:cubicBezTo>
                  <a:cubicBezTo>
                    <a:pt x="647986" y="1165384"/>
                    <a:pt x="1197769" y="1393127"/>
                    <a:pt x="1782509" y="1393127"/>
                  </a:cubicBezTo>
                  <a:cubicBezTo>
                    <a:pt x="1798320" y="1393127"/>
                    <a:pt x="1814227" y="1392936"/>
                    <a:pt x="1830134" y="1392651"/>
                  </a:cubicBezTo>
                  <a:lnTo>
                    <a:pt x="1513332" y="982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ihandform: Form 45">
              <a:extLst>
                <a:ext uri="{FF2B5EF4-FFF2-40B4-BE49-F238E27FC236}">
                  <a16:creationId xmlns:a16="http://schemas.microsoft.com/office/drawing/2014/main" id="{03EA9880-BFF8-2179-9966-1282FDB0C2B5}"/>
                </a:ext>
              </a:extLst>
            </p:cNvPr>
            <p:cNvSpPr>
              <a:spLocks/>
            </p:cNvSpPr>
            <p:nvPr/>
          </p:nvSpPr>
          <p:spPr>
            <a:xfrm>
              <a:off x="3905250" y="2445258"/>
              <a:ext cx="998696" cy="2119979"/>
            </a:xfrm>
            <a:custGeom>
              <a:avLst/>
              <a:gdLst>
                <a:gd name="connsiteX0" fmla="*/ 517779 w 998696"/>
                <a:gd name="connsiteY0" fmla="*/ 1632776 h 2119979"/>
                <a:gd name="connsiteX1" fmla="*/ 998696 w 998696"/>
                <a:gd name="connsiteY1" fmla="*/ 1697546 h 2119979"/>
                <a:gd name="connsiteX2" fmla="*/ 800100 w 998696"/>
                <a:gd name="connsiteY2" fmla="*/ 982218 h 2119979"/>
                <a:gd name="connsiteX3" fmla="*/ 900208 w 998696"/>
                <a:gd name="connsiteY3" fmla="*/ 464439 h 2119979"/>
                <a:gd name="connsiteX4" fmla="*/ 709517 w 998696"/>
                <a:gd name="connsiteY4" fmla="*/ 0 h 2119979"/>
                <a:gd name="connsiteX5" fmla="*/ 198406 w 998696"/>
                <a:gd name="connsiteY5" fmla="*/ 68866 h 2119979"/>
                <a:gd name="connsiteX6" fmla="*/ 0 w 998696"/>
                <a:gd name="connsiteY6" fmla="*/ 982313 h 2119979"/>
                <a:gd name="connsiteX7" fmla="*/ 317754 w 998696"/>
                <a:gd name="connsiteY7" fmla="*/ 2119979 h 2119979"/>
                <a:gd name="connsiteX8" fmla="*/ 517874 w 998696"/>
                <a:gd name="connsiteY8" fmla="*/ 1632871 h 211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8696" h="2119979">
                  <a:moveTo>
                    <a:pt x="517779" y="1632776"/>
                  </a:moveTo>
                  <a:lnTo>
                    <a:pt x="998696" y="1697546"/>
                  </a:lnTo>
                  <a:cubicBezTo>
                    <a:pt x="868490" y="1481709"/>
                    <a:pt x="800100" y="1236155"/>
                    <a:pt x="800100" y="982218"/>
                  </a:cubicBezTo>
                  <a:cubicBezTo>
                    <a:pt x="800100" y="803148"/>
                    <a:pt x="833723" y="629031"/>
                    <a:pt x="900208" y="464439"/>
                  </a:cubicBezTo>
                  <a:lnTo>
                    <a:pt x="709517" y="0"/>
                  </a:lnTo>
                  <a:lnTo>
                    <a:pt x="198406" y="68866"/>
                  </a:lnTo>
                  <a:cubicBezTo>
                    <a:pt x="66675" y="355378"/>
                    <a:pt x="0" y="662559"/>
                    <a:pt x="0" y="982313"/>
                  </a:cubicBezTo>
                  <a:cubicBezTo>
                    <a:pt x="0" y="1387221"/>
                    <a:pt x="109633" y="1778984"/>
                    <a:pt x="317754" y="2119979"/>
                  </a:cubicBezTo>
                  <a:lnTo>
                    <a:pt x="517874" y="16328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Oval 52">
            <a:extLst>
              <a:ext uri="{FF2B5EF4-FFF2-40B4-BE49-F238E27FC236}">
                <a16:creationId xmlns:a16="http://schemas.microsoft.com/office/drawing/2014/main" id="{2A4CC85B-E5ED-1566-A507-FAA81D0A825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935733" y="2466975"/>
            <a:ext cx="2325296" cy="2324324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Insert desired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text here</a:t>
            </a:r>
          </a:p>
        </p:txBody>
      </p:sp>
      <p:sp>
        <p:nvSpPr>
          <p:cNvPr id="32" name="Textplatzhalter 13">
            <a:extLst>
              <a:ext uri="{FF2B5EF4-FFF2-40B4-BE49-F238E27FC236}">
                <a16:creationId xmlns:a16="http://schemas.microsoft.com/office/drawing/2014/main" id="{0E3B7EC3-64C4-4A19-DB7A-015D21DDCAD4}"/>
              </a:ext>
            </a:extLst>
          </p:cNvPr>
          <p:cNvSpPr txBox="1">
            <a:spLocks/>
          </p:cNvSpPr>
          <p:nvPr/>
        </p:nvSpPr>
        <p:spPr bwMode="gray">
          <a:xfrm rot="20025462">
            <a:off x="4606743" y="2145491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Textplatzhalter 13">
            <a:extLst>
              <a:ext uri="{FF2B5EF4-FFF2-40B4-BE49-F238E27FC236}">
                <a16:creationId xmlns:a16="http://schemas.microsoft.com/office/drawing/2014/main" id="{22CE3FFA-7AD6-0F1A-49E3-E8108723564C}"/>
              </a:ext>
            </a:extLst>
          </p:cNvPr>
          <p:cNvSpPr txBox="1">
            <a:spLocks/>
          </p:cNvSpPr>
          <p:nvPr/>
        </p:nvSpPr>
        <p:spPr bwMode="gray">
          <a:xfrm rot="2025633">
            <a:off x="4606743" y="2145490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34" name="Textplatzhalter 13">
            <a:extLst>
              <a:ext uri="{FF2B5EF4-FFF2-40B4-BE49-F238E27FC236}">
                <a16:creationId xmlns:a16="http://schemas.microsoft.com/office/drawing/2014/main" id="{8FD90AC1-38B8-8E14-D5F9-C2CAD1272DE3}"/>
              </a:ext>
            </a:extLst>
          </p:cNvPr>
          <p:cNvSpPr txBox="1">
            <a:spLocks/>
          </p:cNvSpPr>
          <p:nvPr/>
        </p:nvSpPr>
        <p:spPr bwMode="gray">
          <a:xfrm rot="1973374">
            <a:off x="4606744" y="2145490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35" name="Textplatzhalter 13">
            <a:extLst>
              <a:ext uri="{FF2B5EF4-FFF2-40B4-BE49-F238E27FC236}">
                <a16:creationId xmlns:a16="http://schemas.microsoft.com/office/drawing/2014/main" id="{6F87A6EE-F5E4-950C-3428-BEB3EC4629AB}"/>
              </a:ext>
            </a:extLst>
          </p:cNvPr>
          <p:cNvSpPr txBox="1">
            <a:spLocks/>
          </p:cNvSpPr>
          <p:nvPr/>
        </p:nvSpPr>
        <p:spPr bwMode="gray">
          <a:xfrm rot="19944525">
            <a:off x="4606744" y="2145490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36" name="Textplatzhalter 13">
            <a:extLst>
              <a:ext uri="{FF2B5EF4-FFF2-40B4-BE49-F238E27FC236}">
                <a16:creationId xmlns:a16="http://schemas.microsoft.com/office/drawing/2014/main" id="{ECDFDA98-E40B-BAB1-2627-8A8B5DA09C11}"/>
              </a:ext>
            </a:extLst>
          </p:cNvPr>
          <p:cNvSpPr txBox="1">
            <a:spLocks/>
          </p:cNvSpPr>
          <p:nvPr/>
        </p:nvSpPr>
        <p:spPr bwMode="gray">
          <a:xfrm rot="16455884">
            <a:off x="4606743" y="2145490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37" name="Textplatzhalter 13">
            <a:extLst>
              <a:ext uri="{FF2B5EF4-FFF2-40B4-BE49-F238E27FC236}">
                <a16:creationId xmlns:a16="http://schemas.microsoft.com/office/drawing/2014/main" id="{B521B0C5-C65A-8427-B1BD-2DDBFF29C53E}"/>
              </a:ext>
            </a:extLst>
          </p:cNvPr>
          <p:cNvSpPr txBox="1">
            <a:spLocks/>
          </p:cNvSpPr>
          <p:nvPr/>
        </p:nvSpPr>
        <p:spPr bwMode="gray">
          <a:xfrm rot="16369108">
            <a:off x="4606743" y="2145489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A062BBAD-3D40-0486-3DCF-05712A26D22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61477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ircles, process, processes, cycle, cycles, flow, flows</a:t>
            </a:r>
          </a:p>
        </p:txBody>
      </p:sp>
    </p:spTree>
    <p:extLst>
      <p:ext uri="{BB962C8B-B14F-4D97-AF65-F5344CB8AC3E}">
        <p14:creationId xmlns:p14="http://schemas.microsoft.com/office/powerpoint/2010/main" val="2921332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